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slides/slide23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40.xml" ContentType="application/vnd.openxmlformats-officedocument.presentationml.tags+xml"/>
  <Override PartName="/ppt/notesSlides/notesSlide23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5" r:id="rId23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slide" Target="/ppt/slides/slide230.xml" Id="rId233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0.xml.rels>&#65279;<?xml version="1.0" encoding="utf-8"?><Relationships xmlns="http://schemas.openxmlformats.org/package/2006/relationships"><Relationship Type="http://schemas.openxmlformats.org/officeDocument/2006/relationships/slide" Target="/ppt/slides/slide230.xml" Id="rId2" /><Relationship Type="http://schemas.openxmlformats.org/officeDocument/2006/relationships/notesMaster" Target="/ppt/notesMasters/notesMaster1.xml" Id="rId1" /></Relationships>
</file>

<file path=ppt/notesSlides/notesSlide2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55377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0.xml.rels>&#65279;<?xml version="1.0" encoding="utf-8"?><Relationships xmlns="http://schemas.openxmlformats.org/package/2006/relationships"><Relationship Type="http://schemas.openxmlformats.org/officeDocument/2006/relationships/image" Target="/ppt/media/image72.svg" Id="rId8" /><Relationship Type="http://schemas.openxmlformats.org/officeDocument/2006/relationships/image" Target="/ppt/media/image209.png" Id="rId13" /><Relationship Type="http://schemas.openxmlformats.org/officeDocument/2006/relationships/image" Target="/ppt/media/image219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71.png" Id="rId7" /><Relationship Type="http://schemas.openxmlformats.org/officeDocument/2006/relationships/image" Target="/ppt/media/image194.svg" Id="rId12" /><Relationship Type="http://schemas.openxmlformats.org/officeDocument/2006/relationships/image" Target="/ppt/media/image218.png" Id="rId17" /><Relationship Type="http://schemas.openxmlformats.org/officeDocument/2006/relationships/tags" Target="/ppt/tags/tag2040.xml" Id="rId2" /><Relationship Type="http://schemas.openxmlformats.org/officeDocument/2006/relationships/image" Target="/ppt/media/image184.svg" Id="rId16" /><Relationship Type="http://schemas.openxmlformats.org/officeDocument/2006/relationships/vmlDrawing" Target="/ppt/drawings/vmlDrawing234.vml" Id="rId1" /><Relationship Type="http://schemas.openxmlformats.org/officeDocument/2006/relationships/image" Target="/ppt/media/image4.emf" Id="rId6" /><Relationship Type="http://schemas.openxmlformats.org/officeDocument/2006/relationships/image" Target="/ppt/media/image193.png" Id="rId11" /><Relationship Type="http://schemas.openxmlformats.org/officeDocument/2006/relationships/oleObject" Target="/ppt/embeddings/oleObject234.bin" Id="rId5" /><Relationship Type="http://schemas.openxmlformats.org/officeDocument/2006/relationships/image" Target="/ppt/media/image183.png" Id="rId15" /><Relationship Type="http://schemas.openxmlformats.org/officeDocument/2006/relationships/image" Target="/ppt/media/image217.svg" Id="rId10" /><Relationship Type="http://schemas.openxmlformats.org/officeDocument/2006/relationships/notesSlide" Target="/ppt/notesSlides/notesSlide230.xml" Id="rId4" /><Relationship Type="http://schemas.openxmlformats.org/officeDocument/2006/relationships/image" Target="/ppt/media/image216.png" Id="rId9" /><Relationship Type="http://schemas.openxmlformats.org/officeDocument/2006/relationships/image" Target="/ppt/media/image210.svg" Id="rId14" /></Relationships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819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Historical timeline</a:t>
            </a:r>
          </a:p>
        </p:txBody>
      </p:sp>
      <p:sp>
        <p:nvSpPr>
          <p:cNvPr id="29" name="Rechteck 60">
            <a:extLst>
              <a:ext uri="{FF2B5EF4-FFF2-40B4-BE49-F238E27FC236}">
                <a16:creationId xmlns:a16="http://schemas.microsoft.com/office/drawing/2014/main" id="{EF85C844-B378-2B30-1257-A26991F56CCB}"/>
              </a:ext>
            </a:extLst>
          </p:cNvPr>
          <p:cNvSpPr>
            <a:spLocks/>
          </p:cNvSpPr>
          <p:nvPr/>
        </p:nvSpPr>
        <p:spPr bwMode="gray">
          <a:xfrm>
            <a:off x="9918560" y="3377981"/>
            <a:ext cx="1890852" cy="2180612"/>
          </a:xfrm>
          <a:custGeom>
            <a:avLst/>
            <a:gdLst>
              <a:gd name="connsiteX0" fmla="*/ 0 w 1422711"/>
              <a:gd name="connsiteY0" fmla="*/ 0 h 1826924"/>
              <a:gd name="connsiteX1" fmla="*/ 1422711 w 1422711"/>
              <a:gd name="connsiteY1" fmla="*/ 0 h 1826924"/>
              <a:gd name="connsiteX2" fmla="*/ 1422711 w 1422711"/>
              <a:gd name="connsiteY2" fmla="*/ 1826924 h 1826924"/>
              <a:gd name="connsiteX3" fmla="*/ 0 w 1422711"/>
              <a:gd name="connsiteY3" fmla="*/ 1826924 h 1826924"/>
              <a:gd name="connsiteX4" fmla="*/ 0 w 1422711"/>
              <a:gd name="connsiteY4" fmla="*/ 0 h 1826924"/>
              <a:gd name="connsiteX0" fmla="*/ 1422711 w 1514151"/>
              <a:gd name="connsiteY0" fmla="*/ 1826924 h 1918364"/>
              <a:gd name="connsiteX1" fmla="*/ 0 w 1514151"/>
              <a:gd name="connsiteY1" fmla="*/ 1826924 h 1918364"/>
              <a:gd name="connsiteX2" fmla="*/ 0 w 1514151"/>
              <a:gd name="connsiteY2" fmla="*/ 0 h 1918364"/>
              <a:gd name="connsiteX3" fmla="*/ 1422711 w 1514151"/>
              <a:gd name="connsiteY3" fmla="*/ 0 h 1918364"/>
              <a:gd name="connsiteX4" fmla="*/ 1514151 w 1514151"/>
              <a:gd name="connsiteY4" fmla="*/ 1918364 h 1918364"/>
              <a:gd name="connsiteX0" fmla="*/ 1422711 w 1422711"/>
              <a:gd name="connsiteY0" fmla="*/ 1826924 h 1826924"/>
              <a:gd name="connsiteX1" fmla="*/ 0 w 1422711"/>
              <a:gd name="connsiteY1" fmla="*/ 1826924 h 1826924"/>
              <a:gd name="connsiteX2" fmla="*/ 0 w 1422711"/>
              <a:gd name="connsiteY2" fmla="*/ 0 h 1826924"/>
              <a:gd name="connsiteX3" fmla="*/ 1422711 w 1422711"/>
              <a:gd name="connsiteY3" fmla="*/ 0 h 1826924"/>
              <a:gd name="connsiteX0" fmla="*/ 0 w 1422711"/>
              <a:gd name="connsiteY0" fmla="*/ 1826924 h 1826924"/>
              <a:gd name="connsiteX1" fmla="*/ 0 w 1422711"/>
              <a:gd name="connsiteY1" fmla="*/ 0 h 1826924"/>
              <a:gd name="connsiteX2" fmla="*/ 1422711 w 1422711"/>
              <a:gd name="connsiteY2" fmla="*/ 0 h 18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2711" h="1826924">
                <a:moveTo>
                  <a:pt x="0" y="1826924"/>
                </a:moveTo>
                <a:lnTo>
                  <a:pt x="0" y="0"/>
                </a:lnTo>
                <a:lnTo>
                  <a:pt x="1422711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0" name="Rechteck 59">
            <a:extLst>
              <a:ext uri="{FF2B5EF4-FFF2-40B4-BE49-F238E27FC236}">
                <a16:creationId xmlns:a16="http://schemas.microsoft.com/office/drawing/2014/main" id="{E0A7BB4A-91DB-C52F-B9B8-0145B7C331A0}"/>
              </a:ext>
            </a:extLst>
          </p:cNvPr>
          <p:cNvSpPr>
            <a:spLocks/>
          </p:cNvSpPr>
          <p:nvPr/>
        </p:nvSpPr>
        <p:spPr bwMode="gray">
          <a:xfrm>
            <a:off x="8360238" y="3083290"/>
            <a:ext cx="3449173" cy="2475303"/>
          </a:xfrm>
          <a:custGeom>
            <a:avLst/>
            <a:gdLst>
              <a:gd name="connsiteX0" fmla="*/ 0 w 2821834"/>
              <a:gd name="connsiteY0" fmla="*/ 0 h 2073817"/>
              <a:gd name="connsiteX1" fmla="*/ 2821834 w 2821834"/>
              <a:gd name="connsiteY1" fmla="*/ 0 h 2073817"/>
              <a:gd name="connsiteX2" fmla="*/ 2821834 w 2821834"/>
              <a:gd name="connsiteY2" fmla="*/ 2073817 h 2073817"/>
              <a:gd name="connsiteX3" fmla="*/ 0 w 2821834"/>
              <a:gd name="connsiteY3" fmla="*/ 2073817 h 2073817"/>
              <a:gd name="connsiteX4" fmla="*/ 0 w 2821834"/>
              <a:gd name="connsiteY4" fmla="*/ 0 h 2073817"/>
              <a:gd name="connsiteX0" fmla="*/ 2821834 w 2913274"/>
              <a:gd name="connsiteY0" fmla="*/ 2073817 h 2165257"/>
              <a:gd name="connsiteX1" fmla="*/ 0 w 2913274"/>
              <a:gd name="connsiteY1" fmla="*/ 2073817 h 2165257"/>
              <a:gd name="connsiteX2" fmla="*/ 0 w 2913274"/>
              <a:gd name="connsiteY2" fmla="*/ 0 h 2165257"/>
              <a:gd name="connsiteX3" fmla="*/ 2821834 w 2913274"/>
              <a:gd name="connsiteY3" fmla="*/ 0 h 2165257"/>
              <a:gd name="connsiteX4" fmla="*/ 2913274 w 2913274"/>
              <a:gd name="connsiteY4" fmla="*/ 2165257 h 2165257"/>
              <a:gd name="connsiteX0" fmla="*/ 2821834 w 2821834"/>
              <a:gd name="connsiteY0" fmla="*/ 2073817 h 2073817"/>
              <a:gd name="connsiteX1" fmla="*/ 0 w 2821834"/>
              <a:gd name="connsiteY1" fmla="*/ 2073817 h 2073817"/>
              <a:gd name="connsiteX2" fmla="*/ 0 w 2821834"/>
              <a:gd name="connsiteY2" fmla="*/ 0 h 2073817"/>
              <a:gd name="connsiteX3" fmla="*/ 2821834 w 2821834"/>
              <a:gd name="connsiteY3" fmla="*/ 0 h 2073817"/>
              <a:gd name="connsiteX0" fmla="*/ 0 w 2821834"/>
              <a:gd name="connsiteY0" fmla="*/ 2073817 h 2073817"/>
              <a:gd name="connsiteX1" fmla="*/ 0 w 2821834"/>
              <a:gd name="connsiteY1" fmla="*/ 0 h 2073817"/>
              <a:gd name="connsiteX2" fmla="*/ 2821834 w 2821834"/>
              <a:gd name="connsiteY2" fmla="*/ 0 h 2073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21834" h="2073817">
                <a:moveTo>
                  <a:pt x="0" y="2073817"/>
                </a:moveTo>
                <a:lnTo>
                  <a:pt x="0" y="0"/>
                </a:lnTo>
                <a:lnTo>
                  <a:pt x="2821834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1" name="Rechteck 8">
            <a:extLst>
              <a:ext uri="{FF2B5EF4-FFF2-40B4-BE49-F238E27FC236}">
                <a16:creationId xmlns:a16="http://schemas.microsoft.com/office/drawing/2014/main" id="{BAB8EAB0-5B4B-2F8D-C25F-45A7F582D216}"/>
              </a:ext>
            </a:extLst>
          </p:cNvPr>
          <p:cNvSpPr>
            <a:spLocks/>
          </p:cNvSpPr>
          <p:nvPr/>
        </p:nvSpPr>
        <p:spPr bwMode="gray">
          <a:xfrm>
            <a:off x="9828196" y="4143374"/>
            <a:ext cx="162521" cy="1060449"/>
          </a:xfrm>
          <a:prstGeom prst="rect">
            <a:avLst/>
          </a:prstGeom>
          <a:solidFill>
            <a:schemeClr val="bg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2" name="Textfeld 9">
            <a:extLst>
              <a:ext uri="{FF2B5EF4-FFF2-40B4-BE49-F238E27FC236}">
                <a16:creationId xmlns:a16="http://schemas.microsoft.com/office/drawing/2014/main" id="{DD6F07FA-FC24-A506-99E9-E88F5AC039F1}"/>
              </a:ext>
            </a:extLst>
          </p:cNvPr>
          <p:cNvSpPr txBox="1">
            <a:spLocks/>
          </p:cNvSpPr>
          <p:nvPr/>
        </p:nvSpPr>
        <p:spPr bwMode="gray">
          <a:xfrm>
            <a:off x="456994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1850</a:t>
            </a:r>
          </a:p>
        </p:txBody>
      </p:sp>
      <p:sp>
        <p:nvSpPr>
          <p:cNvPr id="33" name="Textfeld 10">
            <a:extLst>
              <a:ext uri="{FF2B5EF4-FFF2-40B4-BE49-F238E27FC236}">
                <a16:creationId xmlns:a16="http://schemas.microsoft.com/office/drawing/2014/main" id="{3A7C48CB-2323-5583-08F3-94B11530ED34}"/>
              </a:ext>
            </a:extLst>
          </p:cNvPr>
          <p:cNvSpPr txBox="1">
            <a:spLocks/>
          </p:cNvSpPr>
          <p:nvPr/>
        </p:nvSpPr>
        <p:spPr bwMode="gray">
          <a:xfrm>
            <a:off x="707191" y="4864449"/>
            <a:ext cx="506549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su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4" name="Textfeld 11">
            <a:extLst>
              <a:ext uri="{FF2B5EF4-FFF2-40B4-BE49-F238E27FC236}">
                <a16:creationId xmlns:a16="http://schemas.microsoft.com/office/drawing/2014/main" id="{A4C620CB-F8FB-BEAF-7BAF-DA827D00CBAA}"/>
              </a:ext>
            </a:extLst>
          </p:cNvPr>
          <p:cNvSpPr txBox="1">
            <a:spLocks/>
          </p:cNvSpPr>
          <p:nvPr/>
        </p:nvSpPr>
        <p:spPr bwMode="gray">
          <a:xfrm>
            <a:off x="5405239" y="4864449"/>
            <a:ext cx="92493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 dolor</a:t>
            </a:r>
          </a:p>
        </p:txBody>
      </p:sp>
      <p:sp>
        <p:nvSpPr>
          <p:cNvPr id="35" name="Textfeld 12">
            <a:extLst>
              <a:ext uri="{FF2B5EF4-FFF2-40B4-BE49-F238E27FC236}">
                <a16:creationId xmlns:a16="http://schemas.microsoft.com/office/drawing/2014/main" id="{963510C2-0863-1665-A4D3-BDE5BECB0DC5}"/>
              </a:ext>
            </a:extLst>
          </p:cNvPr>
          <p:cNvSpPr txBox="1">
            <a:spLocks/>
          </p:cNvSpPr>
          <p:nvPr/>
        </p:nvSpPr>
        <p:spPr bwMode="gray">
          <a:xfrm>
            <a:off x="7458838" y="4864449"/>
            <a:ext cx="506549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</a:t>
            </a:r>
          </a:p>
        </p:txBody>
      </p:sp>
      <p:sp>
        <p:nvSpPr>
          <p:cNvPr id="36" name="Textfeld 13">
            <a:extLst>
              <a:ext uri="{FF2B5EF4-FFF2-40B4-BE49-F238E27FC236}">
                <a16:creationId xmlns:a16="http://schemas.microsoft.com/office/drawing/2014/main" id="{149BFAFA-8670-74EE-4EAF-829B1109707F}"/>
              </a:ext>
            </a:extLst>
          </p:cNvPr>
          <p:cNvSpPr txBox="1">
            <a:spLocks/>
          </p:cNvSpPr>
          <p:nvPr/>
        </p:nvSpPr>
        <p:spPr bwMode="gray">
          <a:xfrm>
            <a:off x="9733819" y="4864449"/>
            <a:ext cx="378310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ad</a:t>
            </a:r>
          </a:p>
        </p:txBody>
      </p:sp>
      <p:sp>
        <p:nvSpPr>
          <p:cNvPr id="37" name="Textfeld 15">
            <a:extLst>
              <a:ext uri="{FF2B5EF4-FFF2-40B4-BE49-F238E27FC236}">
                <a16:creationId xmlns:a16="http://schemas.microsoft.com/office/drawing/2014/main" id="{9C456B2F-59EB-F660-1272-E8BAB1DBB8A7}"/>
              </a:ext>
            </a:extLst>
          </p:cNvPr>
          <p:cNvSpPr txBox="1">
            <a:spLocks/>
          </p:cNvSpPr>
          <p:nvPr/>
        </p:nvSpPr>
        <p:spPr bwMode="gray">
          <a:xfrm>
            <a:off x="2704389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1970</a:t>
            </a:r>
          </a:p>
        </p:txBody>
      </p:sp>
      <p:sp>
        <p:nvSpPr>
          <p:cNvPr id="38" name="Textfeld 16">
            <a:extLst>
              <a:ext uri="{FF2B5EF4-FFF2-40B4-BE49-F238E27FC236}">
                <a16:creationId xmlns:a16="http://schemas.microsoft.com/office/drawing/2014/main" id="{8103DDC6-D6AB-9FAE-CF40-C3D7967A127A}"/>
              </a:ext>
            </a:extLst>
          </p:cNvPr>
          <p:cNvSpPr txBox="1">
            <a:spLocks/>
          </p:cNvSpPr>
          <p:nvPr/>
        </p:nvSpPr>
        <p:spPr bwMode="gray">
          <a:xfrm>
            <a:off x="4462350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1980</a:t>
            </a:r>
          </a:p>
        </p:txBody>
      </p:sp>
      <p:sp>
        <p:nvSpPr>
          <p:cNvPr id="39" name="Textfeld 17">
            <a:extLst>
              <a:ext uri="{FF2B5EF4-FFF2-40B4-BE49-F238E27FC236}">
                <a16:creationId xmlns:a16="http://schemas.microsoft.com/office/drawing/2014/main" id="{5479C896-85E2-926D-2349-93816F88AD7D}"/>
              </a:ext>
            </a:extLst>
          </p:cNvPr>
          <p:cNvSpPr txBox="1">
            <a:spLocks/>
          </p:cNvSpPr>
          <p:nvPr/>
        </p:nvSpPr>
        <p:spPr bwMode="gray">
          <a:xfrm>
            <a:off x="6311908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1990</a:t>
            </a:r>
          </a:p>
        </p:txBody>
      </p:sp>
      <p:sp>
        <p:nvSpPr>
          <p:cNvPr id="40" name="Textfeld 18">
            <a:extLst>
              <a:ext uri="{FF2B5EF4-FFF2-40B4-BE49-F238E27FC236}">
                <a16:creationId xmlns:a16="http://schemas.microsoft.com/office/drawing/2014/main" id="{37868A1A-622C-412F-3B26-13884916046F}"/>
              </a:ext>
            </a:extLst>
          </p:cNvPr>
          <p:cNvSpPr txBox="1">
            <a:spLocks/>
          </p:cNvSpPr>
          <p:nvPr/>
        </p:nvSpPr>
        <p:spPr bwMode="gray">
          <a:xfrm>
            <a:off x="8161466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2000</a:t>
            </a:r>
          </a:p>
        </p:txBody>
      </p:sp>
      <p:sp>
        <p:nvSpPr>
          <p:cNvPr id="41" name="Textfeld 19">
            <a:extLst>
              <a:ext uri="{FF2B5EF4-FFF2-40B4-BE49-F238E27FC236}">
                <a16:creationId xmlns:a16="http://schemas.microsoft.com/office/drawing/2014/main" id="{7A3501D1-0885-4BDD-7A5E-2EEB4E8CFB0B}"/>
              </a:ext>
            </a:extLst>
          </p:cNvPr>
          <p:cNvSpPr txBox="1">
            <a:spLocks/>
          </p:cNvSpPr>
          <p:nvPr/>
        </p:nvSpPr>
        <p:spPr bwMode="gray">
          <a:xfrm>
            <a:off x="9719787" y="5712827"/>
            <a:ext cx="397546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2010</a:t>
            </a:r>
          </a:p>
        </p:txBody>
      </p:sp>
      <p:sp>
        <p:nvSpPr>
          <p:cNvPr id="42" name="Textfeld 20">
            <a:extLst>
              <a:ext uri="{FF2B5EF4-FFF2-40B4-BE49-F238E27FC236}">
                <a16:creationId xmlns:a16="http://schemas.microsoft.com/office/drawing/2014/main" id="{5AED2083-C4C7-7DFC-5A00-D0A1FC2E9269}"/>
              </a:ext>
            </a:extLst>
          </p:cNvPr>
          <p:cNvSpPr txBox="1">
            <a:spLocks/>
          </p:cNvSpPr>
          <p:nvPr/>
        </p:nvSpPr>
        <p:spPr bwMode="gray">
          <a:xfrm>
            <a:off x="11297203" y="5712827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2024</a:t>
            </a:r>
          </a:p>
        </p:txBody>
      </p:sp>
      <p:sp>
        <p:nvSpPr>
          <p:cNvPr id="43" name="Textfeld 21">
            <a:extLst>
              <a:ext uri="{FF2B5EF4-FFF2-40B4-BE49-F238E27FC236}">
                <a16:creationId xmlns:a16="http://schemas.microsoft.com/office/drawing/2014/main" id="{24C573DD-2257-177B-B368-139D6FFFB13E}"/>
              </a:ext>
            </a:extLst>
          </p:cNvPr>
          <p:cNvSpPr txBox="1">
            <a:spLocks/>
          </p:cNvSpPr>
          <p:nvPr/>
        </p:nvSpPr>
        <p:spPr bwMode="gray">
          <a:xfrm>
            <a:off x="3164314" y="4864449"/>
            <a:ext cx="92493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 dolor</a:t>
            </a:r>
          </a:p>
        </p:txBody>
      </p:sp>
      <p:sp>
        <p:nvSpPr>
          <p:cNvPr id="44" name="Textfeld 22">
            <a:extLst>
              <a:ext uri="{FF2B5EF4-FFF2-40B4-BE49-F238E27FC236}">
                <a16:creationId xmlns:a16="http://schemas.microsoft.com/office/drawing/2014/main" id="{41651444-5ED1-1CB3-9333-D7BA07DE1C8E}"/>
              </a:ext>
            </a:extLst>
          </p:cNvPr>
          <p:cNvSpPr txBox="1">
            <a:spLocks/>
          </p:cNvSpPr>
          <p:nvPr/>
        </p:nvSpPr>
        <p:spPr bwMode="gray">
          <a:xfrm>
            <a:off x="8734024" y="4864449"/>
            <a:ext cx="596317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hone</a:t>
            </a:r>
          </a:p>
        </p:txBody>
      </p:sp>
      <p:sp>
        <p:nvSpPr>
          <p:cNvPr id="45" name="Textfeld 23">
            <a:extLst>
              <a:ext uri="{FF2B5EF4-FFF2-40B4-BE49-F238E27FC236}">
                <a16:creationId xmlns:a16="http://schemas.microsoft.com/office/drawing/2014/main" id="{0E97AB89-686F-A38F-6286-8EF9A840AEE6}"/>
              </a:ext>
            </a:extLst>
          </p:cNvPr>
          <p:cNvSpPr txBox="1">
            <a:spLocks/>
          </p:cNvSpPr>
          <p:nvPr/>
        </p:nvSpPr>
        <p:spPr bwMode="gray">
          <a:xfrm>
            <a:off x="422030" y="1571626"/>
            <a:ext cx="1040349" cy="61555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  <a:sym typeface="Futura"/>
              </a:rPr>
              <a:t>Industrial</a:t>
            </a:r>
            <a:br>
              <a:rPr lang="en-US" sz="2000">
                <a:solidFill>
                  <a:schemeClr val="tx2"/>
                </a:solidFill>
                <a:sym typeface="Futura"/>
              </a:rPr>
            </a:br>
            <a:r>
              <a:rPr lang="en-US" sz="2000">
                <a:solidFill>
                  <a:schemeClr val="tx2"/>
                </a:solidFill>
                <a:sym typeface="Futura"/>
              </a:rPr>
              <a:t>Age</a:t>
            </a:r>
          </a:p>
        </p:txBody>
      </p:sp>
      <p:sp>
        <p:nvSpPr>
          <p:cNvPr id="46" name="Textfeld 24">
            <a:extLst>
              <a:ext uri="{FF2B5EF4-FFF2-40B4-BE49-F238E27FC236}">
                <a16:creationId xmlns:a16="http://schemas.microsoft.com/office/drawing/2014/main" id="{A2C109DC-16F3-A9FB-378C-CDA109F760BB}"/>
              </a:ext>
            </a:extLst>
          </p:cNvPr>
          <p:cNvSpPr txBox="1">
            <a:spLocks/>
          </p:cNvSpPr>
          <p:nvPr/>
        </p:nvSpPr>
        <p:spPr bwMode="gray">
          <a:xfrm>
            <a:off x="6385238" y="1571626"/>
            <a:ext cx="1864549" cy="3077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  <a:sym typeface="Futura"/>
              </a:rPr>
              <a:t>Information Age </a:t>
            </a:r>
          </a:p>
        </p:txBody>
      </p:sp>
      <p:sp>
        <p:nvSpPr>
          <p:cNvPr id="47" name="Textfeld 25">
            <a:extLst>
              <a:ext uri="{FF2B5EF4-FFF2-40B4-BE49-F238E27FC236}">
                <a16:creationId xmlns:a16="http://schemas.microsoft.com/office/drawing/2014/main" id="{CA898C54-D7DD-B204-F9EA-3D4316200D48}"/>
              </a:ext>
            </a:extLst>
          </p:cNvPr>
          <p:cNvSpPr txBox="1">
            <a:spLocks/>
          </p:cNvSpPr>
          <p:nvPr/>
        </p:nvSpPr>
        <p:spPr bwMode="gray">
          <a:xfrm>
            <a:off x="3109813" y="2219512"/>
            <a:ext cx="1033937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48" name="Textfeld 26">
            <a:extLst>
              <a:ext uri="{FF2B5EF4-FFF2-40B4-BE49-F238E27FC236}">
                <a16:creationId xmlns:a16="http://schemas.microsoft.com/office/drawing/2014/main" id="{0454E559-D308-D760-3A5D-933F2166D440}"/>
              </a:ext>
            </a:extLst>
          </p:cNvPr>
          <p:cNvSpPr txBox="1">
            <a:spLocks/>
          </p:cNvSpPr>
          <p:nvPr/>
        </p:nvSpPr>
        <p:spPr bwMode="gray">
          <a:xfrm>
            <a:off x="2980769" y="2786422"/>
            <a:ext cx="1292021" cy="64633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1 million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nternet-enabled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devices</a:t>
            </a:r>
          </a:p>
        </p:txBody>
      </p:sp>
      <p:sp>
        <p:nvSpPr>
          <p:cNvPr id="49" name="Textfeld 27">
            <a:extLst>
              <a:ext uri="{FF2B5EF4-FFF2-40B4-BE49-F238E27FC236}">
                <a16:creationId xmlns:a16="http://schemas.microsoft.com/office/drawing/2014/main" id="{2DFC3E32-930A-976A-568F-93AE938B0CB9}"/>
              </a:ext>
            </a:extLst>
          </p:cNvPr>
          <p:cNvSpPr txBox="1">
            <a:spLocks/>
          </p:cNvSpPr>
          <p:nvPr/>
        </p:nvSpPr>
        <p:spPr bwMode="gray">
          <a:xfrm>
            <a:off x="5350737" y="2219512"/>
            <a:ext cx="1033937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50" name="Textfeld 28">
            <a:extLst>
              <a:ext uri="{FF2B5EF4-FFF2-40B4-BE49-F238E27FC236}">
                <a16:creationId xmlns:a16="http://schemas.microsoft.com/office/drawing/2014/main" id="{A27FC26E-B8A8-30DC-6300-278CD09E4754}"/>
              </a:ext>
            </a:extLst>
          </p:cNvPr>
          <p:cNvSpPr txBox="1">
            <a:spLocks/>
          </p:cNvSpPr>
          <p:nvPr/>
        </p:nvSpPr>
        <p:spPr bwMode="gray">
          <a:xfrm>
            <a:off x="7458837" y="3518252"/>
            <a:ext cx="506549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</a:t>
            </a:r>
          </a:p>
        </p:txBody>
      </p:sp>
      <p:sp>
        <p:nvSpPr>
          <p:cNvPr id="51" name="Textfeld 29">
            <a:extLst>
              <a:ext uri="{FF2B5EF4-FFF2-40B4-BE49-F238E27FC236}">
                <a16:creationId xmlns:a16="http://schemas.microsoft.com/office/drawing/2014/main" id="{294CF55B-B513-10D6-7462-C109A633326B}"/>
              </a:ext>
            </a:extLst>
          </p:cNvPr>
          <p:cNvSpPr txBox="1">
            <a:spLocks/>
          </p:cNvSpPr>
          <p:nvPr/>
        </p:nvSpPr>
        <p:spPr bwMode="gray">
          <a:xfrm>
            <a:off x="8758069" y="3518251"/>
            <a:ext cx="548227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</a:t>
            </a:r>
          </a:p>
        </p:txBody>
      </p:sp>
      <p:sp>
        <p:nvSpPr>
          <p:cNvPr id="52" name="Textfeld 30">
            <a:extLst>
              <a:ext uri="{FF2B5EF4-FFF2-40B4-BE49-F238E27FC236}">
                <a16:creationId xmlns:a16="http://schemas.microsoft.com/office/drawing/2014/main" id="{5E4879CD-A2F4-695E-F78F-B01C36FC64D4}"/>
              </a:ext>
            </a:extLst>
          </p:cNvPr>
          <p:cNvSpPr txBox="1">
            <a:spLocks/>
          </p:cNvSpPr>
          <p:nvPr/>
        </p:nvSpPr>
        <p:spPr bwMode="gray">
          <a:xfrm>
            <a:off x="10549206" y="3518251"/>
            <a:ext cx="548227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psum</a:t>
            </a:r>
          </a:p>
        </p:txBody>
      </p:sp>
      <p:sp>
        <p:nvSpPr>
          <p:cNvPr id="53" name="Textfeld 31">
            <a:extLst>
              <a:ext uri="{FF2B5EF4-FFF2-40B4-BE49-F238E27FC236}">
                <a16:creationId xmlns:a16="http://schemas.microsoft.com/office/drawing/2014/main" id="{39BA36AA-884C-18E9-2AAA-BCAFD6C17D77}"/>
              </a:ext>
            </a:extLst>
          </p:cNvPr>
          <p:cNvSpPr txBox="1">
            <a:spLocks/>
          </p:cNvSpPr>
          <p:nvPr/>
        </p:nvSpPr>
        <p:spPr bwMode="gray">
          <a:xfrm>
            <a:off x="7911017" y="2219512"/>
            <a:ext cx="2973571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500 mill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nternet-enabled devices </a:t>
            </a:r>
          </a:p>
        </p:txBody>
      </p:sp>
      <p:sp>
        <p:nvSpPr>
          <p:cNvPr id="54" name="Rechteck 56">
            <a:extLst>
              <a:ext uri="{FF2B5EF4-FFF2-40B4-BE49-F238E27FC236}">
                <a16:creationId xmlns:a16="http://schemas.microsoft.com/office/drawing/2014/main" id="{9D5A8E03-CA3A-58DA-548F-14FBF05F00C8}"/>
              </a:ext>
            </a:extLst>
          </p:cNvPr>
          <p:cNvSpPr>
            <a:spLocks/>
          </p:cNvSpPr>
          <p:nvPr/>
        </p:nvSpPr>
        <p:spPr bwMode="gray">
          <a:xfrm>
            <a:off x="2559741" y="1571626"/>
            <a:ext cx="8943413" cy="3986969"/>
          </a:xfrm>
          <a:custGeom>
            <a:avLst/>
            <a:gdLst>
              <a:gd name="connsiteX0" fmla="*/ 0 w 8029750"/>
              <a:gd name="connsiteY0" fmla="*/ 0 h 3304663"/>
              <a:gd name="connsiteX1" fmla="*/ 8029750 w 8029750"/>
              <a:gd name="connsiteY1" fmla="*/ 0 h 3304663"/>
              <a:gd name="connsiteX2" fmla="*/ 8029750 w 8029750"/>
              <a:gd name="connsiteY2" fmla="*/ 3304663 h 3304663"/>
              <a:gd name="connsiteX3" fmla="*/ 0 w 8029750"/>
              <a:gd name="connsiteY3" fmla="*/ 3304663 h 3304663"/>
              <a:gd name="connsiteX4" fmla="*/ 0 w 8029750"/>
              <a:gd name="connsiteY4" fmla="*/ 0 h 3304663"/>
              <a:gd name="connsiteX0" fmla="*/ 8029750 w 8121190"/>
              <a:gd name="connsiteY0" fmla="*/ 0 h 3304663"/>
              <a:gd name="connsiteX1" fmla="*/ 8029750 w 8121190"/>
              <a:gd name="connsiteY1" fmla="*/ 3304663 h 3304663"/>
              <a:gd name="connsiteX2" fmla="*/ 0 w 8121190"/>
              <a:gd name="connsiteY2" fmla="*/ 3304663 h 3304663"/>
              <a:gd name="connsiteX3" fmla="*/ 0 w 8121190"/>
              <a:gd name="connsiteY3" fmla="*/ 0 h 3304663"/>
              <a:gd name="connsiteX4" fmla="*/ 8121190 w 8121190"/>
              <a:gd name="connsiteY4" fmla="*/ 91440 h 3304663"/>
              <a:gd name="connsiteX0" fmla="*/ 8029750 w 8029750"/>
              <a:gd name="connsiteY0" fmla="*/ 0 h 3304663"/>
              <a:gd name="connsiteX1" fmla="*/ 8029750 w 8029750"/>
              <a:gd name="connsiteY1" fmla="*/ 3304663 h 3304663"/>
              <a:gd name="connsiteX2" fmla="*/ 0 w 8029750"/>
              <a:gd name="connsiteY2" fmla="*/ 3304663 h 3304663"/>
              <a:gd name="connsiteX3" fmla="*/ 0 w 8029750"/>
              <a:gd name="connsiteY3" fmla="*/ 0 h 3304663"/>
              <a:gd name="connsiteX0" fmla="*/ 8029750 w 8029750"/>
              <a:gd name="connsiteY0" fmla="*/ 3304663 h 3304663"/>
              <a:gd name="connsiteX1" fmla="*/ 0 w 8029750"/>
              <a:gd name="connsiteY1" fmla="*/ 3304663 h 3304663"/>
              <a:gd name="connsiteX2" fmla="*/ 0 w 8029750"/>
              <a:gd name="connsiteY2" fmla="*/ 0 h 330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29750" h="3304663">
                <a:moveTo>
                  <a:pt x="8029750" y="3304663"/>
                </a:moveTo>
                <a:lnTo>
                  <a:pt x="0" y="3304663"/>
                </a:lnTo>
                <a:lnTo>
                  <a:pt x="0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5" name="Rechteck 57">
            <a:extLst>
              <a:ext uri="{FF2B5EF4-FFF2-40B4-BE49-F238E27FC236}">
                <a16:creationId xmlns:a16="http://schemas.microsoft.com/office/drawing/2014/main" id="{29DEB92D-EE0C-38CB-62ED-2EE6B961ECEF}"/>
              </a:ext>
            </a:extLst>
          </p:cNvPr>
          <p:cNvSpPr>
            <a:spLocks/>
          </p:cNvSpPr>
          <p:nvPr/>
        </p:nvSpPr>
        <p:spPr bwMode="gray">
          <a:xfrm>
            <a:off x="4667887" y="2043206"/>
            <a:ext cx="7141524" cy="3515387"/>
          </a:xfrm>
          <a:custGeom>
            <a:avLst/>
            <a:gdLst>
              <a:gd name="connsiteX0" fmla="*/ 0 w 6136972"/>
              <a:gd name="connsiteY0" fmla="*/ 0 h 2945203"/>
              <a:gd name="connsiteX1" fmla="*/ 6136972 w 6136972"/>
              <a:gd name="connsiteY1" fmla="*/ 0 h 2945203"/>
              <a:gd name="connsiteX2" fmla="*/ 6136972 w 6136972"/>
              <a:gd name="connsiteY2" fmla="*/ 2945203 h 2945203"/>
              <a:gd name="connsiteX3" fmla="*/ 0 w 6136972"/>
              <a:gd name="connsiteY3" fmla="*/ 2945203 h 2945203"/>
              <a:gd name="connsiteX4" fmla="*/ 0 w 6136972"/>
              <a:gd name="connsiteY4" fmla="*/ 0 h 2945203"/>
              <a:gd name="connsiteX0" fmla="*/ 6136972 w 6228412"/>
              <a:gd name="connsiteY0" fmla="*/ 2945203 h 3036643"/>
              <a:gd name="connsiteX1" fmla="*/ 0 w 6228412"/>
              <a:gd name="connsiteY1" fmla="*/ 2945203 h 3036643"/>
              <a:gd name="connsiteX2" fmla="*/ 0 w 6228412"/>
              <a:gd name="connsiteY2" fmla="*/ 0 h 3036643"/>
              <a:gd name="connsiteX3" fmla="*/ 6136972 w 6228412"/>
              <a:gd name="connsiteY3" fmla="*/ 0 h 3036643"/>
              <a:gd name="connsiteX4" fmla="*/ 6228412 w 6228412"/>
              <a:gd name="connsiteY4" fmla="*/ 3036643 h 3036643"/>
              <a:gd name="connsiteX0" fmla="*/ 6136972 w 6136972"/>
              <a:gd name="connsiteY0" fmla="*/ 2945203 h 2945203"/>
              <a:gd name="connsiteX1" fmla="*/ 0 w 6136972"/>
              <a:gd name="connsiteY1" fmla="*/ 2945203 h 2945203"/>
              <a:gd name="connsiteX2" fmla="*/ 0 w 6136972"/>
              <a:gd name="connsiteY2" fmla="*/ 0 h 2945203"/>
              <a:gd name="connsiteX3" fmla="*/ 6136972 w 6136972"/>
              <a:gd name="connsiteY3" fmla="*/ 0 h 2945203"/>
              <a:gd name="connsiteX0" fmla="*/ 0 w 6136972"/>
              <a:gd name="connsiteY0" fmla="*/ 2945203 h 2945203"/>
              <a:gd name="connsiteX1" fmla="*/ 0 w 6136972"/>
              <a:gd name="connsiteY1" fmla="*/ 0 h 2945203"/>
              <a:gd name="connsiteX2" fmla="*/ 6136972 w 6136972"/>
              <a:gd name="connsiteY2" fmla="*/ 0 h 2945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6972" h="2945203">
                <a:moveTo>
                  <a:pt x="0" y="2945203"/>
                </a:moveTo>
                <a:lnTo>
                  <a:pt x="0" y="0"/>
                </a:lnTo>
                <a:lnTo>
                  <a:pt x="6136972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6" name="Rechteck 58">
            <a:extLst>
              <a:ext uri="{FF2B5EF4-FFF2-40B4-BE49-F238E27FC236}">
                <a16:creationId xmlns:a16="http://schemas.microsoft.com/office/drawing/2014/main" id="{BD968848-12D4-2E77-D8CA-78EE10B53BF4}"/>
              </a:ext>
            </a:extLst>
          </p:cNvPr>
          <p:cNvSpPr>
            <a:spLocks/>
          </p:cNvSpPr>
          <p:nvPr/>
        </p:nvSpPr>
        <p:spPr bwMode="gray">
          <a:xfrm>
            <a:off x="7067521" y="2614302"/>
            <a:ext cx="4741891" cy="2944291"/>
          </a:xfrm>
          <a:custGeom>
            <a:avLst/>
            <a:gdLst>
              <a:gd name="connsiteX0" fmla="*/ 0 w 3982487"/>
              <a:gd name="connsiteY0" fmla="*/ 0 h 2466737"/>
              <a:gd name="connsiteX1" fmla="*/ 3982487 w 3982487"/>
              <a:gd name="connsiteY1" fmla="*/ 0 h 2466737"/>
              <a:gd name="connsiteX2" fmla="*/ 3982487 w 3982487"/>
              <a:gd name="connsiteY2" fmla="*/ 2466737 h 2466737"/>
              <a:gd name="connsiteX3" fmla="*/ 0 w 3982487"/>
              <a:gd name="connsiteY3" fmla="*/ 2466737 h 2466737"/>
              <a:gd name="connsiteX4" fmla="*/ 0 w 3982487"/>
              <a:gd name="connsiteY4" fmla="*/ 0 h 2466737"/>
              <a:gd name="connsiteX0" fmla="*/ 3982487 w 4073927"/>
              <a:gd name="connsiteY0" fmla="*/ 2466737 h 2558177"/>
              <a:gd name="connsiteX1" fmla="*/ 0 w 4073927"/>
              <a:gd name="connsiteY1" fmla="*/ 2466737 h 2558177"/>
              <a:gd name="connsiteX2" fmla="*/ 0 w 4073927"/>
              <a:gd name="connsiteY2" fmla="*/ 0 h 2558177"/>
              <a:gd name="connsiteX3" fmla="*/ 3982487 w 4073927"/>
              <a:gd name="connsiteY3" fmla="*/ 0 h 2558177"/>
              <a:gd name="connsiteX4" fmla="*/ 4073927 w 4073927"/>
              <a:gd name="connsiteY4" fmla="*/ 2558177 h 2558177"/>
              <a:gd name="connsiteX0" fmla="*/ 3982487 w 3982487"/>
              <a:gd name="connsiteY0" fmla="*/ 2466737 h 2466737"/>
              <a:gd name="connsiteX1" fmla="*/ 0 w 3982487"/>
              <a:gd name="connsiteY1" fmla="*/ 2466737 h 2466737"/>
              <a:gd name="connsiteX2" fmla="*/ 0 w 3982487"/>
              <a:gd name="connsiteY2" fmla="*/ 0 h 2466737"/>
              <a:gd name="connsiteX3" fmla="*/ 3982487 w 3982487"/>
              <a:gd name="connsiteY3" fmla="*/ 0 h 2466737"/>
              <a:gd name="connsiteX0" fmla="*/ 0 w 3982487"/>
              <a:gd name="connsiteY0" fmla="*/ 2466737 h 2466737"/>
              <a:gd name="connsiteX1" fmla="*/ 0 w 3982487"/>
              <a:gd name="connsiteY1" fmla="*/ 0 h 2466737"/>
              <a:gd name="connsiteX2" fmla="*/ 3982487 w 3982487"/>
              <a:gd name="connsiteY2" fmla="*/ 0 h 246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2487" h="2466737">
                <a:moveTo>
                  <a:pt x="0" y="2466737"/>
                </a:moveTo>
                <a:lnTo>
                  <a:pt x="0" y="0"/>
                </a:lnTo>
                <a:lnTo>
                  <a:pt x="3982487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57" name="Gerader Verbinder 14">
            <a:extLst>
              <a:ext uri="{FF2B5EF4-FFF2-40B4-BE49-F238E27FC236}">
                <a16:creationId xmlns:a16="http://schemas.microsoft.com/office/drawing/2014/main" id="{E43206C8-9FE5-73CC-5275-DB14F6C39EDA}"/>
              </a:ext>
            </a:extLst>
          </p:cNvPr>
          <p:cNvCxnSpPr>
            <a:cxnSpLocks/>
          </p:cNvCxnSpPr>
          <p:nvPr/>
        </p:nvCxnSpPr>
        <p:spPr bwMode="gray">
          <a:xfrm>
            <a:off x="428017" y="5558592"/>
            <a:ext cx="11381395" cy="0"/>
          </a:xfrm>
          <a:prstGeom prst="line">
            <a:avLst/>
          </a:prstGeom>
          <a:ln w="38100" cap="rnd">
            <a:solidFill>
              <a:schemeClr val="accent1"/>
            </a:solidFill>
            <a:headEnd type="none" w="lg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Grafik 44">
            <a:extLst>
              <a:ext uri="{FF2B5EF4-FFF2-40B4-BE49-F238E27FC236}">
                <a16:creationId xmlns:a16="http://schemas.microsoft.com/office/drawing/2014/main" id="{D2BBD6D0-CBD6-35C7-B274-9D918AF4F0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822" y="4227708"/>
            <a:ext cx="617288" cy="617288"/>
          </a:xfrm>
          <a:prstGeom prst="rect">
            <a:avLst/>
          </a:prstGeom>
        </p:spPr>
      </p:pic>
      <p:pic>
        <p:nvPicPr>
          <p:cNvPr id="59" name="Grafik 46">
            <a:extLst>
              <a:ext uri="{FF2B5EF4-FFF2-40B4-BE49-F238E27FC236}">
                <a16:creationId xmlns:a16="http://schemas.microsoft.com/office/drawing/2014/main" id="{26DEDB7D-C16A-047C-F654-B3E4DAE9A5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9614330" y="4227708"/>
            <a:ext cx="617288" cy="617288"/>
          </a:xfrm>
          <a:prstGeom prst="rect">
            <a:avLst/>
          </a:prstGeom>
        </p:spPr>
      </p:pic>
      <p:pic>
        <p:nvPicPr>
          <p:cNvPr id="60" name="Grafik 48">
            <a:extLst>
              <a:ext uri="{FF2B5EF4-FFF2-40B4-BE49-F238E27FC236}">
                <a16:creationId xmlns:a16="http://schemas.microsoft.com/office/drawing/2014/main" id="{A197043F-137E-FD29-5803-39CD9121E41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78906" y="4283075"/>
            <a:ext cx="506554" cy="506554"/>
          </a:xfrm>
          <a:prstGeom prst="rect">
            <a:avLst/>
          </a:prstGeom>
        </p:spPr>
      </p:pic>
      <p:pic>
        <p:nvPicPr>
          <p:cNvPr id="61" name="Grafik 50">
            <a:extLst>
              <a:ext uri="{FF2B5EF4-FFF2-40B4-BE49-F238E27FC236}">
                <a16:creationId xmlns:a16="http://schemas.microsoft.com/office/drawing/2014/main" id="{0AF3CCBC-8016-FCC1-24B7-CA532DAC43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03469" y="4227708"/>
            <a:ext cx="617288" cy="617288"/>
          </a:xfrm>
          <a:prstGeom prst="rect">
            <a:avLst/>
          </a:prstGeom>
        </p:spPr>
      </p:pic>
      <p:pic>
        <p:nvPicPr>
          <p:cNvPr id="62" name="Grafik 52">
            <a:extLst>
              <a:ext uri="{FF2B5EF4-FFF2-40B4-BE49-F238E27FC236}">
                <a16:creationId xmlns:a16="http://schemas.microsoft.com/office/drawing/2014/main" id="{CD030C57-BF64-D2A5-1425-BCE3184582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59062" y="4227708"/>
            <a:ext cx="617288" cy="617288"/>
          </a:xfrm>
          <a:prstGeom prst="rect">
            <a:avLst/>
          </a:prstGeom>
        </p:spPr>
      </p:pic>
      <p:pic>
        <p:nvPicPr>
          <p:cNvPr id="63" name="Grafik 54">
            <a:extLst>
              <a:ext uri="{FF2B5EF4-FFF2-40B4-BE49-F238E27FC236}">
                <a16:creationId xmlns:a16="http://schemas.microsoft.com/office/drawing/2014/main" id="{DE7FE74D-FE76-D49E-F53C-7B798A4A0AA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18137" y="4227708"/>
            <a:ext cx="617288" cy="617288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5B93FCBE-1EA9-CA62-4C85-73A3DEFF31F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554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</a:t>
            </a:r>
          </a:p>
        </p:txBody>
      </p:sp>
    </p:spTree>
    <p:extLst>
      <p:ext uri="{BB962C8B-B14F-4D97-AF65-F5344CB8AC3E}">
        <p14:creationId xmlns:p14="http://schemas.microsoft.com/office/powerpoint/2010/main" val="597140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